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1EB4CC26-39EA-4386-A3D5-52221B02BD77}">
          <p14:sldIdLst>
            <p14:sldId id="2147475173"/>
            <p14:sldId id="2147475174"/>
            <p14:sldId id="2147475175"/>
            <p14:sldId id="2147475176"/>
            <p14:sldId id="2147475177"/>
            <p14:sldId id="2147475178"/>
            <p14:sldId id="2147475179"/>
            <p14:sldId id="2147475180"/>
            <p14:sldId id="2147475181"/>
          </p14:sldIdLst>
        </p14:section>
        <p14:section name="Brackets By Sector" id="{2290AB97-B142-4A7A-AED8-B019EB130632}">
          <p14:sldIdLst>
            <p14:sldId id="2147475182"/>
            <p14:sldId id="2147475183"/>
            <p14:sldId id="2147475184"/>
            <p14:sldId id="2147475185"/>
            <p14:sldId id="2147475186"/>
            <p14:sldId id="2147475187"/>
            <p14:sldId id="2147475188"/>
            <p14:sldId id="2147475189"/>
            <p14:sldId id="2147475190"/>
          </p14:sldIdLst>
        </p14:section>
        <p14:section name="Brackets By Segment" id="{8C479ADD-A659-4054-84B2-35A3412A5F0F}">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7</c:v>
                </c:pt>
                <c:pt idx="2">
                  <c:v>0.11542314622600523</c:v>
                </c:pt>
                <c:pt idx="3">
                  <c:v>0.2530626788865774</c:v>
                </c:pt>
                <c:pt idx="4">
                  <c:v>0.3924267522037962</c:v>
                </c:pt>
                <c:pt idx="5">
                  <c:v>0.20010811840969855</c:v>
                </c:pt>
                <c:pt idx="6">
                  <c:v>0.00077979151003017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123258798760101</c:v>
                </c:pt>
                <c:pt idx="3">
                  <c:v>0.0019586700359540744</c:v>
                </c:pt>
                <c:pt idx="4">
                  <c:v>0.008880963282224425</c:v>
                </c:pt>
                <c:pt idx="5">
                  <c:v>0.00605121704502577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c:v>
                </c:pt>
                <c:pt idx="1">
                  <c:v>0.033746952717115544</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098768442806877</c:v>
                </c:pt>
                <c:pt idx="2">
                  <c:v>0.008479239880879232</c:v>
                </c:pt>
                <c:pt idx="3">
                  <c:v>0.0009400241152511937</c:v>
                </c:pt>
                <c:pt idx="4">
                  <c:v>0.009185874751290178</c:v>
                </c:pt>
                <c:pt idx="5">
                  <c:v>0.00164323838904843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2</c:v>
                </c:pt>
                <c:pt idx="5">
                  <c:v>0.4916116822395893</c:v>
                </c:pt>
                <c:pt idx="6">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c:v>
                </c:pt>
                <c:pt idx="5">
                  <c:v>0.17852577558717275</c:v>
                </c:pt>
                <c:pt idx="6">
                  <c:v>0.00425764124651129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560963249213</c:v>
                </c:pt>
                <c:pt idx="2">
                  <c:v>0.00844071336186619</c:v>
                </c:pt>
                <c:pt idx="3">
                  <c:v>0.003196359327224923</c:v>
                </c:pt>
                <c:pt idx="4">
                  <c:v>0.010649876395981047</c:v>
                </c:pt>
                <c:pt idx="5">
                  <c:v>0.00067244606309120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c:v>
                </c:pt>
                <c:pt idx="4">
                  <c:v>0.025558696901447086</c:v>
                </c:pt>
                <c:pt idx="5">
                  <c:v>0.478510828360034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c:v>
                </c:pt>
                <c:pt idx="1">
                  <c:v>0.034984186478661645</c:v>
                </c:pt>
                <c:pt idx="2">
                  <c:v>0.12057696366540469</c:v>
                </c:pt>
                <c:pt idx="3">
                  <c:v>0.24394239554040859</c:v>
                </c:pt>
                <c:pt idx="4">
                  <c:v>0.40726527506674604</c:v>
                </c:pt>
                <c:pt idx="5">
                  <c:v>0.1876677037620601</c:v>
                </c:pt>
                <c:pt idx="6">
                  <c:v>0.00064667198888705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522680506827396</c:v>
                </c:pt>
                <c:pt idx="4">
                  <c:v>0.008085576483263678</c:v>
                </c:pt>
                <c:pt idx="5">
                  <c:v>0.0055444738518158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6</c:v>
                </c:pt>
                <c:pt idx="6">
                  <c:v>0.0039951234028509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88237666396748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c:v>
                </c:pt>
                <c:pt idx="1">
                  <c:v>0.033746952717115544</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76399280447082</c:v>
                </c:pt>
                <c:pt idx="4">
                  <c:v>0.009166887961390938</c:v>
                </c:pt>
                <c:pt idx="5">
                  <c:v>0.0078493363384589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2</c:v>
                </c:pt>
                <c:pt idx="5">
                  <c:v>0.4916116822395893</c:v>
                </c:pt>
                <c:pt idx="6">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1000311054065661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c:v>
                </c:pt>
                <c:pt idx="5">
                  <c:v>0.17852577558717275</c:v>
                </c:pt>
                <c:pt idx="6">
                  <c:v>0.00425764124651129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048931682507652</c:v>
                </c:pt>
                <c:pt idx="4">
                  <c:v>0.01163779219054959</c:v>
                </c:pt>
                <c:pt idx="5">
                  <c:v>0.0077242625895746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c:v>
                </c:pt>
                <c:pt idx="4">
                  <c:v>0.025558696901447086</c:v>
                </c:pt>
                <c:pt idx="5">
                  <c:v>0.478510828360034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117594841045602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976509875827702</c:v>
                </c:pt>
                <c:pt idx="2">
                  <c:v>0.20959695456476174</c:v>
                </c:pt>
                <c:pt idx="3">
                  <c:v>0.16789242813392036</c:v>
                </c:pt>
                <c:pt idx="4">
                  <c:v>0.332299698436339</c:v>
                </c:pt>
                <c:pt idx="5">
                  <c:v>0.17996067563843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1006066755415164</c:v>
                </c:pt>
                <c:pt idx="3">
                  <c:v>0.026441561849660927</c:v>
                </c:pt>
                <c:pt idx="4">
                  <c:v>0.08803960684853453</c:v>
                </c:pt>
                <c:pt idx="5">
                  <c:v>0.0388988595532718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554807916989727</c:v>
                </c:pt>
                <c:pt idx="2">
                  <c:v>0.04216919235477574</c:v>
                </c:pt>
                <c:pt idx="3">
                  <c:v>0.3115933076347819</c:v>
                </c:pt>
                <c:pt idx="4">
                  <c:v>0.5525742001357615</c:v>
                </c:pt>
                <c:pt idx="5">
                  <c:v>0.058097603097988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414596290795131</c:v>
                </c:pt>
                <c:pt idx="5">
                  <c:v>0.00478595248592671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13241656142988</c:v>
                </c:pt>
                <c:pt idx="1">
                  <c:v>0.009168069855322253</c:v>
                </c:pt>
                <c:pt idx="2">
                  <c:v>0.09587898829715472</c:v>
                </c:pt>
                <c:pt idx="3">
                  <c:v>0.12681280824640867</c:v>
                </c:pt>
                <c:pt idx="4">
                  <c:v>0.38312067811449413</c:v>
                </c:pt>
                <c:pt idx="5">
                  <c:v>0.38200621383047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797037320037875</c:v>
                </c:pt>
                <c:pt idx="1">
                  <c:v>0.06628102070742496</c:v>
                </c:pt>
                <c:pt idx="2">
                  <c:v>0.21222544325068682</c:v>
                </c:pt>
                <c:pt idx="3">
                  <c:v>0.4881235136927875</c:v>
                </c:pt>
                <c:pt idx="4">
                  <c:v>0.20707641511045416</c:v>
                </c:pt>
                <c:pt idx="5">
                  <c:v>0.00949656991860864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0163206576342793</c:v>
                </c:pt>
                <c:pt idx="2">
                  <c:v>0.07163018577585348</c:v>
                </c:pt>
                <c:pt idx="3">
                  <c:v>0.18213042192281223</c:v>
                </c:pt>
                <c:pt idx="4">
                  <c:v>0.583370409019392</c:v>
                </c:pt>
                <c:pt idx="5">
                  <c:v>0.15683276160589696</c:v>
                </c:pt>
                <c:pt idx="6">
                  <c:v>0.00384728190281215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5385614196020754</c:v>
                </c:pt>
                <c:pt idx="1">
                  <c:v>0.001562031736386979</c:v>
                </c:pt>
                <c:pt idx="2">
                  <c:v>0.005554790142341344</c:v>
                </c:pt>
                <c:pt idx="3">
                  <c:v>0.03366878548745144</c:v>
                </c:pt>
                <c:pt idx="4">
                  <c:v>0.8884307694542035</c:v>
                </c:pt>
                <c:pt idx="5">
                  <c:v>0.070245061760014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468357751020842</c:v>
                </c:pt>
                <c:pt idx="2">
                  <c:v>0.23538969436701587</c:v>
                </c:pt>
                <c:pt idx="3">
                  <c:v>0.11727718156320037</c:v>
                </c:pt>
                <c:pt idx="4">
                  <c:v>0.2692506097512817</c:v>
                </c:pt>
                <c:pt idx="5">
                  <c:v>0.23036885781261315</c:v>
                </c:pt>
                <c:pt idx="6">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7831140442375314</c:v>
                </c:pt>
                <c:pt idx="3">
                  <c:v>0.01888234821986699</c:v>
                </c:pt>
                <c:pt idx="4">
                  <c:v>0.07974748276914807</c:v>
                </c:pt>
                <c:pt idx="5">
                  <c:v>0.051515387466375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7204326300153365</c:v>
                </c:pt>
                <c:pt idx="2">
                  <c:v>0.04855904289934774</c:v>
                </c:pt>
                <c:pt idx="3">
                  <c:v>0.24618674300182217</c:v>
                </c:pt>
                <c:pt idx="4">
                  <c:v>0.6011542181379292</c:v>
                </c:pt>
                <c:pt idx="5">
                  <c:v>0.056894186185215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4784849183471466</c:v>
                </c:pt>
                <c:pt idx="5">
                  <c:v>0.00556124633252818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4975365598015995</c:v>
                </c:pt>
                <c:pt idx="1">
                  <c:v>0.002659804186462194</c:v>
                </c:pt>
                <c:pt idx="2">
                  <c:v>0.08651067053330841</c:v>
                </c:pt>
                <c:pt idx="3">
                  <c:v>0.12974197681813057</c:v>
                </c:pt>
                <c:pt idx="4">
                  <c:v>0.431716533043907</c:v>
                </c:pt>
                <c:pt idx="5">
                  <c:v>0.34687347885839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30936481089645</c:v>
                </c:pt>
                <c:pt idx="1">
                  <c:v>0.0458853424980189</c:v>
                </c:pt>
                <c:pt idx="2">
                  <c:v>0.19124469261645943</c:v>
                </c:pt>
                <c:pt idx="3">
                  <c:v>0.5034371051504838</c:v>
                </c:pt>
                <c:pt idx="4">
                  <c:v>0.23257033706164643</c:v>
                </c:pt>
                <c:pt idx="5">
                  <c:v>0.01173158619230180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1035385751206645</c:v>
                </c:pt>
                <c:pt idx="2">
                  <c:v>0.09217741038031818</c:v>
                </c:pt>
                <c:pt idx="3">
                  <c:v>0.14424491130230155</c:v>
                </c:pt>
                <c:pt idx="4">
                  <c:v>0.56687151041155</c:v>
                </c:pt>
                <c:pt idx="5">
                  <c:v>0.19372224476650263</c:v>
                </c:pt>
                <c:pt idx="6">
                  <c:v>0.0007295793532500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8</c:v>
                </c:pt>
                <c:pt idx="2">
                  <c:v>0.11934437643587233</c:v>
                </c:pt>
                <c:pt idx="3">
                  <c:v>0.2673446469655293</c:v>
                </c:pt>
                <c:pt idx="4">
                  <c:v>0.37912908429641573</c:v>
                </c:pt>
                <c:pt idx="5">
                  <c:v>0.1956612367613539</c:v>
                </c:pt>
                <c:pt idx="6">
                  <c:v>0.0040156325230067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450492937243368</c:v>
                </c:pt>
                <c:pt idx="1">
                  <c:v>0.0022320532191512647</c:v>
                </c:pt>
                <c:pt idx="2">
                  <c:v>0.005522170881564549</c:v>
                </c:pt>
                <c:pt idx="3">
                  <c:v>0.03205456820303794</c:v>
                </c:pt>
                <c:pt idx="4">
                  <c:v>0.8468481130844219</c:v>
                </c:pt>
                <c:pt idx="5">
                  <c:v>0.112098045318100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17813299245834574</c:v>
                </c:pt>
                <c:pt idx="3">
                  <c:v>0.21442455324174367</c:v>
                </c:pt>
                <c:pt idx="4">
                  <c:v>0.3344574628371492</c:v>
                </c:pt>
                <c:pt idx="5">
                  <c:v>0.18703635419451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935285989812673</c:v>
                </c:pt>
                <c:pt idx="3">
                  <c:v>0.04056330411108755</c:v>
                </c:pt>
                <c:pt idx="4">
                  <c:v>0.09103779430939526</c:v>
                </c:pt>
                <c:pt idx="5">
                  <c:v>0.043239602954386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26372359036796</c:v>
                </c:pt>
                <c:pt idx="2">
                  <c:v>0.07259953780351218</c:v>
                </c:pt>
                <c:pt idx="3">
                  <c:v>0.2972345841836297</c:v>
                </c:pt>
                <c:pt idx="4">
                  <c:v>0.559236186073135</c:v>
                </c:pt>
                <c:pt idx="5">
                  <c:v>0.050485435308849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291676615909819</c:v>
                </c:pt>
                <c:pt idx="3">
                  <c:v>0.004299897130109869</c:v>
                </c:pt>
                <c:pt idx="4">
                  <c:v>0.009654437559331727</c:v>
                </c:pt>
                <c:pt idx="5">
                  <c:v>0.0055247778065095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6736072035449517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081577628435521</c:v>
                </c:pt>
                <c:pt idx="2">
                  <c:v>0.08331281605257088</c:v>
                </c:pt>
                <c:pt idx="3">
                  <c:v>0.13055996567023354</c:v>
                </c:pt>
                <c:pt idx="4">
                  <c:v>0.3864847701464099</c:v>
                </c:pt>
                <c:pt idx="5">
                  <c:v>0.39867291645744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62381599003958</c:v>
                </c:pt>
                <c:pt idx="1">
                  <c:v>0.06752988254370398</c:v>
                </c:pt>
                <c:pt idx="2">
                  <c:v>0.22654494927316576</c:v>
                </c:pt>
                <c:pt idx="3">
                  <c:v>0.47410950417657494</c:v>
                </c:pt>
                <c:pt idx="4">
                  <c:v>0.18871797876878638</c:v>
                </c:pt>
                <c:pt idx="5">
                  <c:v>0.01383530363876503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555374201545074</c:v>
                </c:pt>
                <c:pt idx="2">
                  <c:v>0.10056376439324646</c:v>
                </c:pt>
                <c:pt idx="3">
                  <c:v>0.20390060448269487</c:v>
                </c:pt>
                <c:pt idx="4">
                  <c:v>0.559433236095852</c:v>
                </c:pt>
                <c:pt idx="5">
                  <c:v>0.1038446609746087</c:v>
                </c:pt>
                <c:pt idx="6">
                  <c:v>0.028702359852052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7239854391077266</c:v>
                </c:pt>
                <c:pt idx="4">
                  <c:v>0.866838591950545</c:v>
                </c:pt>
                <c:pt idx="5">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976509875827702</c:v>
                </c:pt>
                <c:pt idx="2">
                  <c:v>0.20959695456476174</c:v>
                </c:pt>
                <c:pt idx="3">
                  <c:v>0.16789242813392036</c:v>
                </c:pt>
                <c:pt idx="4">
                  <c:v>0.332299698436339</c:v>
                </c:pt>
                <c:pt idx="5">
                  <c:v>0.17996067563843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209817276612301</c:v>
                </c:pt>
                <c:pt idx="2">
                  <c:v>0.05794383094949777</c:v>
                </c:pt>
                <c:pt idx="3">
                  <c:v>0.04270102422085179</c:v>
                </c:pt>
                <c:pt idx="4">
                  <c:v>0.06559091826119108</c:v>
                </c:pt>
                <c:pt idx="5">
                  <c:v>0.01242883612809747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554807916989727</c:v>
                </c:pt>
                <c:pt idx="2">
                  <c:v>0.04216919235477574</c:v>
                </c:pt>
                <c:pt idx="3">
                  <c:v>0.3115933076347819</c:v>
                </c:pt>
                <c:pt idx="4">
                  <c:v>0.5525742001357615</c:v>
                </c:pt>
                <c:pt idx="5">
                  <c:v>0.058097603097988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13241656142988</c:v>
                </c:pt>
                <c:pt idx="1">
                  <c:v>0.009168069855322253</c:v>
                </c:pt>
                <c:pt idx="2">
                  <c:v>0.09587898829715472</c:v>
                </c:pt>
                <c:pt idx="3">
                  <c:v>0.12681280824640867</c:v>
                </c:pt>
                <c:pt idx="4">
                  <c:v>0.38312067811449413</c:v>
                </c:pt>
                <c:pt idx="5">
                  <c:v>0.38200621383047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797037320037875</c:v>
                </c:pt>
                <c:pt idx="1">
                  <c:v>0.06628102070742496</c:v>
                </c:pt>
                <c:pt idx="2">
                  <c:v>0.21222544325068682</c:v>
                </c:pt>
                <c:pt idx="3">
                  <c:v>0.4881235136927875</c:v>
                </c:pt>
                <c:pt idx="4">
                  <c:v>0.20707641511045416</c:v>
                </c:pt>
                <c:pt idx="5">
                  <c:v>0.00949656991860864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147288752478511</c:v>
                </c:pt>
                <c:pt idx="3">
                  <c:v>0.00266835618906598</c:v>
                </c:pt>
                <c:pt idx="4">
                  <c:v>0.009195002164708484</c:v>
                </c:pt>
                <c:pt idx="5">
                  <c:v>0.00454085814251758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0163206576342793</c:v>
                </c:pt>
                <c:pt idx="2">
                  <c:v>0.07163018577585348</c:v>
                </c:pt>
                <c:pt idx="3">
                  <c:v>0.18213042192281223</c:v>
                </c:pt>
                <c:pt idx="4">
                  <c:v>0.583370409019392</c:v>
                </c:pt>
                <c:pt idx="5">
                  <c:v>0.15683276160589696</c:v>
                </c:pt>
                <c:pt idx="6">
                  <c:v>0.00384728190281215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5385614196020754</c:v>
                </c:pt>
                <c:pt idx="1">
                  <c:v>0.001562031736386979</c:v>
                </c:pt>
                <c:pt idx="2">
                  <c:v>0.005554790142341344</c:v>
                </c:pt>
                <c:pt idx="3">
                  <c:v>0.03366878548745144</c:v>
                </c:pt>
                <c:pt idx="4">
                  <c:v>0.8884307694542035</c:v>
                </c:pt>
                <c:pt idx="5">
                  <c:v>0.070245061760014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468357751020842</c:v>
                </c:pt>
                <c:pt idx="2">
                  <c:v>0.23538969436701587</c:v>
                </c:pt>
                <c:pt idx="3">
                  <c:v>0.11727718156320037</c:v>
                </c:pt>
                <c:pt idx="4">
                  <c:v>0.2692506097512817</c:v>
                </c:pt>
                <c:pt idx="5">
                  <c:v>0.23036885781261315</c:v>
                </c:pt>
                <c:pt idx="6">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266040284708145</c:v>
                </c:pt>
                <c:pt idx="2">
                  <c:v>0.07780055435957021</c:v>
                </c:pt>
                <c:pt idx="3">
                  <c:v>0.00862511242815835</c:v>
                </c:pt>
                <c:pt idx="4">
                  <c:v>0.08428422334642685</c:v>
                </c:pt>
                <c:pt idx="5">
                  <c:v>0.0150773960176768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7204326300153365</c:v>
                </c:pt>
                <c:pt idx="2">
                  <c:v>0.04855904289934774</c:v>
                </c:pt>
                <c:pt idx="3">
                  <c:v>0.24618674300182217</c:v>
                </c:pt>
                <c:pt idx="4">
                  <c:v>0.6011542181379292</c:v>
                </c:pt>
                <c:pt idx="5">
                  <c:v>0.056894186185215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4975365598015995</c:v>
                </c:pt>
                <c:pt idx="1">
                  <c:v>0.002659804186462194</c:v>
                </c:pt>
                <c:pt idx="2">
                  <c:v>0.08651067053330841</c:v>
                </c:pt>
                <c:pt idx="3">
                  <c:v>0.12974197681813057</c:v>
                </c:pt>
                <c:pt idx="4">
                  <c:v>0.431716533043907</c:v>
                </c:pt>
                <c:pt idx="5">
                  <c:v>0.34687347885839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30936481089645</c:v>
                </c:pt>
                <c:pt idx="1">
                  <c:v>0.0458853424980189</c:v>
                </c:pt>
                <c:pt idx="2">
                  <c:v>0.19124469261645943</c:v>
                </c:pt>
                <c:pt idx="3">
                  <c:v>0.5034371051504838</c:v>
                </c:pt>
                <c:pt idx="4">
                  <c:v>0.23257033706164643</c:v>
                </c:pt>
                <c:pt idx="5">
                  <c:v>0.01173158619230180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1035385751206645</c:v>
                </c:pt>
                <c:pt idx="2">
                  <c:v>0.09217741038031818</c:v>
                </c:pt>
                <c:pt idx="3">
                  <c:v>0.14424491130230155</c:v>
                </c:pt>
                <c:pt idx="4">
                  <c:v>0.56687151041155</c:v>
                </c:pt>
                <c:pt idx="5">
                  <c:v>0.19372224476650263</c:v>
                </c:pt>
                <c:pt idx="6">
                  <c:v>0.0007295793532500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450492937243368</c:v>
                </c:pt>
                <c:pt idx="1">
                  <c:v>0.0022320532191512647</c:v>
                </c:pt>
                <c:pt idx="2">
                  <c:v>0.005522170881564549</c:v>
                </c:pt>
                <c:pt idx="3">
                  <c:v>0.03205456820303794</c:v>
                </c:pt>
                <c:pt idx="4">
                  <c:v>0.8468481130844219</c:v>
                </c:pt>
                <c:pt idx="5">
                  <c:v>0.112098045318100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17813299245834574</c:v>
                </c:pt>
                <c:pt idx="3">
                  <c:v>0.21442455324174367</c:v>
                </c:pt>
                <c:pt idx="4">
                  <c:v>0.3344574628371492</c:v>
                </c:pt>
                <c:pt idx="5">
                  <c:v>0.18703635419451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07509989132561243</c:v>
                </c:pt>
                <c:pt idx="3">
                  <c:v>0.028439093690432658</c:v>
                </c:pt>
                <c:pt idx="4">
                  <c:v>0.09475556456907686</c:v>
                </c:pt>
                <c:pt idx="5">
                  <c:v>0.0059829808329517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26372359036796</c:v>
                </c:pt>
                <c:pt idx="2">
                  <c:v>0.07259953780351218</c:v>
                </c:pt>
                <c:pt idx="3">
                  <c:v>0.2972345841836297</c:v>
                </c:pt>
                <c:pt idx="4">
                  <c:v>0.559236186073135</c:v>
                </c:pt>
                <c:pt idx="5">
                  <c:v>0.050485435308849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081577628435521</c:v>
                </c:pt>
                <c:pt idx="2">
                  <c:v>0.08331281605257088</c:v>
                </c:pt>
                <c:pt idx="3">
                  <c:v>0.13055996567023354</c:v>
                </c:pt>
                <c:pt idx="4">
                  <c:v>0.3864847701464099</c:v>
                </c:pt>
                <c:pt idx="5">
                  <c:v>0.39867291645744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62381599003958</c:v>
                </c:pt>
                <c:pt idx="1">
                  <c:v>0.06752988254370398</c:v>
                </c:pt>
                <c:pt idx="2">
                  <c:v>0.22654494927316576</c:v>
                </c:pt>
                <c:pt idx="3">
                  <c:v>0.47410950417657494</c:v>
                </c:pt>
                <c:pt idx="4">
                  <c:v>0.18871797876878638</c:v>
                </c:pt>
                <c:pt idx="5">
                  <c:v>0.01383530363876503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555374201545074</c:v>
                </c:pt>
                <c:pt idx="2">
                  <c:v>0.10056376439324646</c:v>
                </c:pt>
                <c:pt idx="3">
                  <c:v>0.20390060448269487</c:v>
                </c:pt>
                <c:pt idx="4">
                  <c:v>0.559433236095852</c:v>
                </c:pt>
                <c:pt idx="5">
                  <c:v>0.1038446609746087</c:v>
                </c:pt>
                <c:pt idx="6">
                  <c:v>0.028702359852052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7239854391077266</c:v>
                </c:pt>
                <c:pt idx="4">
                  <c:v>0.866838591950545</c:v>
                </c:pt>
                <c:pt idx="5">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976509875827702</c:v>
                </c:pt>
                <c:pt idx="2">
                  <c:v>0.20959695456476174</c:v>
                </c:pt>
                <c:pt idx="3">
                  <c:v>0.16789242813392036</c:v>
                </c:pt>
                <c:pt idx="4">
                  <c:v>0.332299698436339</c:v>
                </c:pt>
                <c:pt idx="5">
                  <c:v>0.17996067563843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554807916989727</c:v>
                </c:pt>
                <c:pt idx="2">
                  <c:v>0.04216919235477574</c:v>
                </c:pt>
                <c:pt idx="3">
                  <c:v>0.3115933076347819</c:v>
                </c:pt>
                <c:pt idx="4">
                  <c:v>0.5525742001357615</c:v>
                </c:pt>
                <c:pt idx="5">
                  <c:v>0.058097603097988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78060916134092</c:v>
                </c:pt>
                <c:pt idx="4">
                  <c:v>0.060194721989301196</c:v>
                </c:pt>
                <c:pt idx="5">
                  <c:v>0.01428051507679771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13241656142988</c:v>
                </c:pt>
                <c:pt idx="1">
                  <c:v>0.009168069855322253</c:v>
                </c:pt>
                <c:pt idx="2">
                  <c:v>0.09587898829715472</c:v>
                </c:pt>
                <c:pt idx="3">
                  <c:v>0.12681280824640867</c:v>
                </c:pt>
                <c:pt idx="4">
                  <c:v>0.38312067811449413</c:v>
                </c:pt>
                <c:pt idx="5">
                  <c:v>0.38200621383047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0476051752909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797037320037875</c:v>
                </c:pt>
                <c:pt idx="1">
                  <c:v>0.06628102070742496</c:v>
                </c:pt>
                <c:pt idx="2">
                  <c:v>0.21222544325068682</c:v>
                </c:pt>
                <c:pt idx="3">
                  <c:v>0.4881235136927875</c:v>
                </c:pt>
                <c:pt idx="4">
                  <c:v>0.20707641511045416</c:v>
                </c:pt>
                <c:pt idx="5">
                  <c:v>0.00949656991860864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0163206576342793</c:v>
                </c:pt>
                <c:pt idx="2">
                  <c:v>0.07163018577585348</c:v>
                </c:pt>
                <c:pt idx="3">
                  <c:v>0.18213042192281223</c:v>
                </c:pt>
                <c:pt idx="4">
                  <c:v>0.583370409019392</c:v>
                </c:pt>
                <c:pt idx="5">
                  <c:v>0.15683276160589696</c:v>
                </c:pt>
                <c:pt idx="6">
                  <c:v>0.00384728190281215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7</c:v>
                </c:pt>
                <c:pt idx="2">
                  <c:v>0.11542314622600523</c:v>
                </c:pt>
                <c:pt idx="3">
                  <c:v>0.2530626788865774</c:v>
                </c:pt>
                <c:pt idx="4">
                  <c:v>0.3924267522037962</c:v>
                </c:pt>
                <c:pt idx="5">
                  <c:v>0.20010811840969855</c:v>
                </c:pt>
                <c:pt idx="6">
                  <c:v>0.00077979151003017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5385614196020754</c:v>
                </c:pt>
                <c:pt idx="1">
                  <c:v>0.001562031736386979</c:v>
                </c:pt>
                <c:pt idx="2">
                  <c:v>0.005554790142341344</c:v>
                </c:pt>
                <c:pt idx="3">
                  <c:v>0.03366878548745144</c:v>
                </c:pt>
                <c:pt idx="4">
                  <c:v>0.8884307694542035</c:v>
                </c:pt>
                <c:pt idx="5">
                  <c:v>0.070245061760014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468357751020842</c:v>
                </c:pt>
                <c:pt idx="2">
                  <c:v>0.23538969436701587</c:v>
                </c:pt>
                <c:pt idx="3">
                  <c:v>0.11727718156320037</c:v>
                </c:pt>
                <c:pt idx="4">
                  <c:v>0.2692506097512817</c:v>
                </c:pt>
                <c:pt idx="5">
                  <c:v>0.23036885781261315</c:v>
                </c:pt>
                <c:pt idx="6">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7204326300153365</c:v>
                </c:pt>
                <c:pt idx="2">
                  <c:v>0.04855904289934774</c:v>
                </c:pt>
                <c:pt idx="3">
                  <c:v>0.24618674300182217</c:v>
                </c:pt>
                <c:pt idx="4">
                  <c:v>0.6011542181379292</c:v>
                </c:pt>
                <c:pt idx="5">
                  <c:v>0.056894186185215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8284955656441361</c:v>
                </c:pt>
                <c:pt idx="2">
                  <c:v>0.005847414793852957</c:v>
                </c:pt>
                <c:pt idx="3">
                  <c:v>0.004309183508410163</c:v>
                </c:pt>
                <c:pt idx="4">
                  <c:v>0.006619122337927038</c:v>
                </c:pt>
                <c:pt idx="5">
                  <c:v>0.001254258806414683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52628303944447</c:v>
                </c:pt>
                <c:pt idx="4">
                  <c:v>0.06857874750025944</c:v>
                </c:pt>
                <c:pt idx="5">
                  <c:v>0.0152514096557669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4975365598015995</c:v>
                </c:pt>
                <c:pt idx="1">
                  <c:v>0.002659804186462194</c:v>
                </c:pt>
                <c:pt idx="2">
                  <c:v>0.08651067053330841</c:v>
                </c:pt>
                <c:pt idx="3">
                  <c:v>0.12974197681813057</c:v>
                </c:pt>
                <c:pt idx="4">
                  <c:v>0.431716533043907</c:v>
                </c:pt>
                <c:pt idx="5">
                  <c:v>0.34687347885839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614462086261064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30936481089645</c:v>
                </c:pt>
                <c:pt idx="1">
                  <c:v>0.0458853424980189</c:v>
                </c:pt>
                <c:pt idx="2">
                  <c:v>0.19124469261645943</c:v>
                </c:pt>
                <c:pt idx="3">
                  <c:v>0.5034371051504838</c:v>
                </c:pt>
                <c:pt idx="4">
                  <c:v>0.23257033706164643</c:v>
                </c:pt>
                <c:pt idx="5">
                  <c:v>0.01173158619230180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1035385751206645</c:v>
                </c:pt>
                <c:pt idx="2">
                  <c:v>0.09217741038031818</c:v>
                </c:pt>
                <c:pt idx="3">
                  <c:v>0.14424491130230155</c:v>
                </c:pt>
                <c:pt idx="4">
                  <c:v>0.56687151041155</c:v>
                </c:pt>
                <c:pt idx="5">
                  <c:v>0.19372224476650263</c:v>
                </c:pt>
                <c:pt idx="6">
                  <c:v>0.0007295793532500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450492937243368</c:v>
                </c:pt>
                <c:pt idx="1">
                  <c:v>0.0022320532191512647</c:v>
                </c:pt>
                <c:pt idx="2">
                  <c:v>0.005522170881564549</c:v>
                </c:pt>
                <c:pt idx="3">
                  <c:v>0.03205456820303794</c:v>
                </c:pt>
                <c:pt idx="4">
                  <c:v>0.8468481130844219</c:v>
                </c:pt>
                <c:pt idx="5">
                  <c:v>0.112098045318100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17813299245834574</c:v>
                </c:pt>
                <c:pt idx="3">
                  <c:v>0.21442455324174367</c:v>
                </c:pt>
                <c:pt idx="4">
                  <c:v>0.3344574628371492</c:v>
                </c:pt>
                <c:pt idx="5">
                  <c:v>0.18703635419451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26372359036796</c:v>
                </c:pt>
                <c:pt idx="2">
                  <c:v>0.07259953780351218</c:v>
                </c:pt>
                <c:pt idx="3">
                  <c:v>0.2972345841836297</c:v>
                </c:pt>
                <c:pt idx="4">
                  <c:v>0.559236186073135</c:v>
                </c:pt>
                <c:pt idx="5">
                  <c:v>0.050485435308849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40814542241074</c:v>
                </c:pt>
                <c:pt idx="4">
                  <c:v>0.0785577834586375</c:v>
                </c:pt>
                <c:pt idx="5">
                  <c:v>0.0221396686946854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081577628435521</c:v>
                </c:pt>
                <c:pt idx="2">
                  <c:v>0.08331281605257088</c:v>
                </c:pt>
                <c:pt idx="3">
                  <c:v>0.13055996567023354</c:v>
                </c:pt>
                <c:pt idx="4">
                  <c:v>0.3864847701464099</c:v>
                </c:pt>
                <c:pt idx="5">
                  <c:v>0.39867291645744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375085520330023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62381599003958</c:v>
                </c:pt>
                <c:pt idx="1">
                  <c:v>0.06752988254370398</c:v>
                </c:pt>
                <c:pt idx="2">
                  <c:v>0.22654494927316576</c:v>
                </c:pt>
                <c:pt idx="3">
                  <c:v>0.47410950417657494</c:v>
                </c:pt>
                <c:pt idx="4">
                  <c:v>0.18871797876878638</c:v>
                </c:pt>
                <c:pt idx="5">
                  <c:v>0.01383530363876503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555374201545074</c:v>
                </c:pt>
                <c:pt idx="2">
                  <c:v>0.10056376439324646</c:v>
                </c:pt>
                <c:pt idx="3">
                  <c:v>0.20390060448269487</c:v>
                </c:pt>
                <c:pt idx="4">
                  <c:v>0.559433236095852</c:v>
                </c:pt>
                <c:pt idx="5">
                  <c:v>0.1038446609746087</c:v>
                </c:pt>
                <c:pt idx="6">
                  <c:v>0.028702359852052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7239854391077266</c:v>
                </c:pt>
                <c:pt idx="4">
                  <c:v>0.866838591950545</c:v>
                </c:pt>
                <c:pt idx="5">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2</c:v>
                </c:pt>
                <c:pt idx="2">
                  <c:v>0.1134814049493723</c:v>
                </c:pt>
                <c:pt idx="3">
                  <c:v>0.2358959959748086</c:v>
                </c:pt>
                <c:pt idx="4">
                  <c:v>0.4081420572888037</c:v>
                </c:pt>
                <c:pt idx="5">
                  <c:v>0.20556364616861456</c:v>
                </c:pt>
                <c:pt idx="6">
                  <c:v>0.0007166297012213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683486752821</c:v>
                </c:pt>
                <c:pt idx="2">
                  <c:v>0.008070268211894027</c:v>
                </c:pt>
                <c:pt idx="3">
                  <c:v>0.0008946847644719398</c:v>
                </c:pt>
                <c:pt idx="4">
                  <c:v>0.008742820588310812</c:v>
                </c:pt>
                <c:pt idx="5">
                  <c:v>0.001563981526882625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8</c:v>
                </c:pt>
                <c:pt idx="2">
                  <c:v>0.11934437643587233</c:v>
                </c:pt>
                <c:pt idx="3">
                  <c:v>0.2673446469655293</c:v>
                </c:pt>
                <c:pt idx="4">
                  <c:v>0.37912908429641573</c:v>
                </c:pt>
                <c:pt idx="5">
                  <c:v>0.1956612367613539</c:v>
                </c:pt>
                <c:pt idx="6">
                  <c:v>0.0040156325230067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065229916332547</c:v>
                </c:pt>
                <c:pt idx="2">
                  <c:v>0.007960934501247807</c:v>
                </c:pt>
                <c:pt idx="3">
                  <c:v>0.0030146749635464654</c:v>
                </c:pt>
                <c:pt idx="4">
                  <c:v>0.01004452642804176</c:v>
                </c:pt>
                <c:pt idx="5">
                  <c:v>0.000634223534716438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7115859415532545</c:v>
                </c:pt>
                <c:pt idx="1">
                  <c:v>0.03348792682233927</c:v>
                </c:pt>
                <c:pt idx="2">
                  <c:v>0.11542314622600523</c:v>
                </c:pt>
                <c:pt idx="3">
                  <c:v>0.2530626788865774</c:v>
                </c:pt>
                <c:pt idx="4">
                  <c:v>0.3924267522037962</c:v>
                </c:pt>
                <c:pt idx="5">
                  <c:v>0.20010811840969855</c:v>
                </c:pt>
                <c:pt idx="6">
                  <c:v>0.00077979151003017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14783924569317</c:v>
                </c:pt>
                <c:pt idx="4">
                  <c:v>0.0077763110176387465</c:v>
                </c:pt>
                <c:pt idx="5">
                  <c:v>0.00885840224331261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2</c:v>
                </c:pt>
                <c:pt idx="2">
                  <c:v>0.1134814049493723</c:v>
                </c:pt>
                <c:pt idx="3">
                  <c:v>0.2358959959748086</c:v>
                </c:pt>
                <c:pt idx="4">
                  <c:v>0.4081420572888037</c:v>
                </c:pt>
                <c:pt idx="5">
                  <c:v>0.20556364616861456</c:v>
                </c:pt>
                <c:pt idx="6">
                  <c:v>0.0007166297012213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569573067529505</c:v>
                </c:pt>
                <c:pt idx="4">
                  <c:v>0.008897944805083643</c:v>
                </c:pt>
                <c:pt idx="5">
                  <c:v>0.011891779993274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744777961122773</c:v>
                </c:pt>
                <c:pt idx="1">
                  <c:v>0.02776024505669918</c:v>
                </c:pt>
                <c:pt idx="2">
                  <c:v>0.11934437643587233</c:v>
                </c:pt>
                <c:pt idx="3">
                  <c:v>0.2673446469655293</c:v>
                </c:pt>
                <c:pt idx="4">
                  <c:v>0.37912908429641573</c:v>
                </c:pt>
                <c:pt idx="5">
                  <c:v>0.1956612367613539</c:v>
                </c:pt>
                <c:pt idx="6">
                  <c:v>0.0040156325230067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761945193792437</c:v>
                </c:pt>
                <c:pt idx="4">
                  <c:v>0.010976288069047125</c:v>
                </c:pt>
                <c:pt idx="5">
                  <c:v>0.01368072688352527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c:v>
                </c:pt>
                <c:pt idx="1">
                  <c:v>0.034984186478661645</c:v>
                </c:pt>
                <c:pt idx="2">
                  <c:v>0.12057696366540469</c:v>
                </c:pt>
                <c:pt idx="3">
                  <c:v>0.24394239554040859</c:v>
                </c:pt>
                <c:pt idx="4">
                  <c:v>0.40726527506674604</c:v>
                </c:pt>
                <c:pt idx="5">
                  <c:v>0.1876677037620601</c:v>
                </c:pt>
                <c:pt idx="6">
                  <c:v>0.00064667198888705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377278218052303</c:v>
                </c:pt>
                <c:pt idx="3">
                  <c:v>0.0027875828039684958</c:v>
                </c:pt>
                <c:pt idx="4">
                  <c:v>0.00960585023162388</c:v>
                </c:pt>
                <c:pt idx="5">
                  <c:v>0.004743751274740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6</c:v>
                </c:pt>
                <c:pt idx="6">
                  <c:v>0.0039951234028509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c:v>
                </c:pt>
                <c:pt idx="1">
                  <c:v>0.033746952717115544</c:v>
                </c:pt>
                <c:pt idx="2">
                  <c:v>0.1192322273957106</c:v>
                </c:pt>
                <c:pt idx="3">
                  <c:v>0.22555260391768006</c:v>
                </c:pt>
                <c:pt idx="4">
                  <c:v>0.42483219111845827</c:v>
                </c:pt>
                <c:pt idx="5">
                  <c:v>0.192144132530299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534915836828727</c:v>
                </c:pt>
                <c:pt idx="3">
                  <c:v>0.0020579282678446667</c:v>
                </c:pt>
                <c:pt idx="4">
                  <c:v>0.009331018011554821</c:v>
                </c:pt>
                <c:pt idx="5">
                  <c:v>0.006357870587301926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2</c:v>
                </c:pt>
                <c:pt idx="5">
                  <c:v>0.4916116822395893</c:v>
                </c:pt>
                <c:pt idx="6">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151263140068065</c:v>
                </c:pt>
                <c:pt idx="1">
                  <c:v>0.029433262055105915</c:v>
                </c:pt>
                <c:pt idx="2">
                  <c:v>0.12653686231031827</c:v>
                </c:pt>
                <c:pt idx="3">
                  <c:v>0.254859417876351</c:v>
                </c:pt>
                <c:pt idx="4">
                  <c:v>0.3992357777844726</c:v>
                </c:pt>
                <c:pt idx="5">
                  <c:v>0.17852577558717275</c:v>
                </c:pt>
                <c:pt idx="6">
                  <c:v>0.00425764124651129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5</c:v>
                </c:pt>
                <c:pt idx="1">
                  <c:v>0.03211926582893042</c:v>
                </c:pt>
                <c:pt idx="2">
                  <c:v>0.1134814049493723</c:v>
                </c:pt>
                <c:pt idx="3">
                  <c:v>0.2358959959748086</c:v>
                </c:pt>
                <c:pt idx="4">
                  <c:v>0.4081420572888037</c:v>
                </c:pt>
                <c:pt idx="5">
                  <c:v>0.20556364616861456</c:v>
                </c:pt>
                <c:pt idx="6">
                  <c:v>0.0007166297012213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670854894249806</c:v>
                </c:pt>
                <c:pt idx="3">
                  <c:v>0.00455903752946085</c:v>
                </c:pt>
                <c:pt idx="4">
                  <c:v>0.010236278177590988</c:v>
                </c:pt>
                <c:pt idx="5">
                  <c:v>0.00585773766200913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9304747385181</c:v>
                </c:pt>
                <c:pt idx="4">
                  <c:v>0.025558696901447086</c:v>
                </c:pt>
                <c:pt idx="5">
                  <c:v>0.478510828360034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16803497831836</c:v>
                </c:pt>
                <c:pt idx="1">
                  <c:v>0.034984186478661645</c:v>
                </c:pt>
                <c:pt idx="2">
                  <c:v>0.12057696366540469</c:v>
                </c:pt>
                <c:pt idx="3">
                  <c:v>0.24394239554040859</c:v>
                </c:pt>
                <c:pt idx="4">
                  <c:v>0.40726527506674604</c:v>
                </c:pt>
                <c:pt idx="5">
                  <c:v>0.1876677037620601</c:v>
                </c:pt>
                <c:pt idx="6">
                  <c:v>0.00064667198888705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8655141324150406</c:v>
                </c:pt>
                <c:pt idx="2">
                  <c:v>0.006108687061273151</c:v>
                </c:pt>
                <c:pt idx="3">
                  <c:v>0.004501725030717696</c:v>
                </c:pt>
                <c:pt idx="4">
                  <c:v>0.006914875788388577</c:v>
                </c:pt>
                <c:pt idx="5">
                  <c:v>0.001310301186481205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8493934911453</c:v>
                </c:pt>
                <c:pt idx="4">
                  <c:v>0.02239062509883376</c:v>
                </c:pt>
                <c:pt idx="5">
                  <c:v>0.4875203375885216</c:v>
                </c:pt>
                <c:pt idx="6">
                  <c:v>0.00399512340285099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77014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4989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09089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376126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3083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35342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66820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5287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03546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080356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684017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220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42771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85158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742495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681291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85771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60405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351714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2467918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1773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39788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7845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808658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82378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717817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107493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823409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61479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46337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4636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67465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0936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73336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33951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91315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